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266" r:id="rId5"/>
    <p:sldId id="268" r:id="rId6"/>
    <p:sldId id="270" r:id="rId7"/>
    <p:sldId id="273" r:id="rId8"/>
    <p:sldId id="271" r:id="rId9"/>
  </p:sldIdLst>
  <p:sldSz cx="10693400" cy="7561263"/>
  <p:notesSz cx="6797675" cy="9928225"/>
  <p:custDataLst>
    <p:tags r:id="rId12"/>
  </p:custDataLst>
  <p:defaultTextStyle>
    <a:defPPr>
      <a:defRPr lang="en-US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72E1D084-0CF2-4F2D-A03B-8BB06E01A6FC}">
          <p14:sldIdLst>
            <p14:sldId id="266"/>
            <p14:sldId id="268"/>
            <p14:sldId id="270"/>
            <p14:sldId id="273"/>
            <p14:sldId id="271"/>
          </p14:sldIdLst>
        </p14:section>
      </p14:sectionLst>
    </p:ext>
    <p:ext uri="{EFAFB233-063F-42B5-8137-9DF3F51BA10A}">
      <p15:sldGuideLst xmlns:p15="http://schemas.microsoft.com/office/powerpoint/2012/main" xmlns="">
        <p15:guide id="2" orient="horz" pos="958">
          <p15:clr>
            <a:srgbClr val="A4A3A4"/>
          </p15:clr>
        </p15:guide>
        <p15:guide id="3" pos="159">
          <p15:clr>
            <a:srgbClr val="A4A3A4"/>
          </p15:clr>
        </p15:guide>
        <p15:guide id="4" pos="65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32">
          <p15:clr>
            <a:srgbClr val="A4A3A4"/>
          </p15:clr>
        </p15:guide>
        <p15:guide id="4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1414"/>
    <a:srgbClr val="FF9600"/>
    <a:srgbClr val="ADC2FF"/>
    <a:srgbClr val="009600"/>
    <a:srgbClr val="800000"/>
    <a:srgbClr val="FFBE64"/>
    <a:srgbClr val="64FF64"/>
    <a:srgbClr val="262626"/>
    <a:srgbClr val="9664F0"/>
    <a:srgbClr val="3C0A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2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-1128" y="-96"/>
      </p:cViewPr>
      <p:guideLst>
        <p:guide orient="horz" pos="958"/>
        <p:guide pos="159"/>
        <p:guide pos="657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-2898" y="-102"/>
      </p:cViewPr>
      <p:guideLst>
        <p:guide orient="horz" pos="2875"/>
        <p:guide orient="horz" pos="3127"/>
        <p:guide pos="215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rb.cz\group\Research\Odhady\IAE\AIE_zari%202018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Odhady\IAE\IE_DOTAZNIK_TIME_SERIES_18Q2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Odhady\IAE\IE_DOTAZNIK_TIME_SERIES_18Q2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Odhady\IAE\IE_DOTAZNIK_TIME_SERIES_18Q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cs-CZ" sz="1600" dirty="0"/>
              <a:t>Index Exportu: závěr roku přinese oživení </a:t>
            </a:r>
            <a:r>
              <a:rPr lang="en-US" sz="1600" dirty="0"/>
              <a:t>   </a:t>
            </a:r>
            <a:endParaRPr lang="cs-CZ" sz="1600" dirty="0"/>
          </a:p>
        </c:rich>
      </c:tx>
      <c:layout>
        <c:manualLayout>
          <c:xMode val="edge"/>
          <c:yMode val="edge"/>
          <c:x val="0.36965136615280803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8.0021319778536215E-2"/>
          <c:y val="0.10056725247955453"/>
          <c:w val="0.87015674793700326"/>
          <c:h val="0.61090592720312575"/>
        </c:manualLayout>
      </c:layout>
      <c:lineChart>
        <c:grouping val="standard"/>
        <c:varyColors val="0"/>
        <c:ser>
          <c:idx val="0"/>
          <c:order val="0"/>
          <c:tx>
            <c:v>Růst expotu (národní metodika)</c:v>
          </c:tx>
          <c:spPr>
            <a:ln>
              <a:solidFill>
                <a:srgbClr val="C0504D"/>
              </a:solidFill>
            </a:ln>
          </c:spPr>
          <c:marker>
            <c:symbol val="none"/>
          </c:marker>
          <c:cat>
            <c:numRef>
              <c:f>'Původní model (M 1)'!$A$3:$A$150</c:f>
              <c:numCache>
                <c:formatCode>m/d/yyyy</c:formatCode>
                <c:ptCount val="148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</c:numCache>
            </c:numRef>
          </c:cat>
          <c:val>
            <c:numRef>
              <c:f>'Původní model (M 1)'!$B$3:$B$145</c:f>
              <c:numCache>
                <c:formatCode>0.00</c:formatCode>
                <c:ptCount val="143"/>
                <c:pt idx="0">
                  <c:v>6.987715215361745</c:v>
                </c:pt>
                <c:pt idx="1">
                  <c:v>18.39880498347317</c:v>
                </c:pt>
                <c:pt idx="2">
                  <c:v>13.055857708076847</c:v>
                </c:pt>
                <c:pt idx="3">
                  <c:v>8.7645242732967041</c:v>
                </c:pt>
                <c:pt idx="4">
                  <c:v>13.506556528198367</c:v>
                </c:pt>
                <c:pt idx="5">
                  <c:v>15.281794950998284</c:v>
                </c:pt>
                <c:pt idx="6">
                  <c:v>11.463402787321053</c:v>
                </c:pt>
                <c:pt idx="7">
                  <c:v>17.492060931581154</c:v>
                </c:pt>
                <c:pt idx="8">
                  <c:v>9.7938203946819726</c:v>
                </c:pt>
                <c:pt idx="9">
                  <c:v>10.957167354339825</c:v>
                </c:pt>
                <c:pt idx="10">
                  <c:v>18.805529079220683</c:v>
                </c:pt>
                <c:pt idx="11">
                  <c:v>11.255816250201022</c:v>
                </c:pt>
                <c:pt idx="12">
                  <c:v>7.5845470476942012</c:v>
                </c:pt>
                <c:pt idx="13">
                  <c:v>12.687622473357841</c:v>
                </c:pt>
                <c:pt idx="14">
                  <c:v>8.1140160750422297</c:v>
                </c:pt>
                <c:pt idx="15">
                  <c:v>3.7502480062913346</c:v>
                </c:pt>
                <c:pt idx="16">
                  <c:v>8.8613785122900968</c:v>
                </c:pt>
                <c:pt idx="17">
                  <c:v>9.8730790001978477</c:v>
                </c:pt>
                <c:pt idx="18">
                  <c:v>-5.1336978535326043</c:v>
                </c:pt>
                <c:pt idx="19">
                  <c:v>12.863932795401789</c:v>
                </c:pt>
                <c:pt idx="20">
                  <c:v>0.46804233338120227</c:v>
                </c:pt>
                <c:pt idx="21">
                  <c:v>2.23185997948816</c:v>
                </c:pt>
                <c:pt idx="22">
                  <c:v>1.2754689486445647</c:v>
                </c:pt>
                <c:pt idx="23">
                  <c:v>-8.4655694324238908</c:v>
                </c:pt>
                <c:pt idx="24">
                  <c:v>4.6117820939808318</c:v>
                </c:pt>
                <c:pt idx="25">
                  <c:v>-12.152925998201026</c:v>
                </c:pt>
                <c:pt idx="26">
                  <c:v>-17.539258183525131</c:v>
                </c:pt>
                <c:pt idx="27">
                  <c:v>-12.708621024808576</c:v>
                </c:pt>
                <c:pt idx="28">
                  <c:v>-22.974721487695327</c:v>
                </c:pt>
                <c:pt idx="29">
                  <c:v>-19.538552380993579</c:v>
                </c:pt>
                <c:pt idx="30">
                  <c:v>-5.317510111251778</c:v>
                </c:pt>
                <c:pt idx="31">
                  <c:v>-21.621018405692215</c:v>
                </c:pt>
                <c:pt idx="32">
                  <c:v>-19.43127543629717</c:v>
                </c:pt>
                <c:pt idx="33">
                  <c:v>-14.022035296303969</c:v>
                </c:pt>
                <c:pt idx="34">
                  <c:v>-15.566917218033105</c:v>
                </c:pt>
                <c:pt idx="35">
                  <c:v>-7.1380831877589035</c:v>
                </c:pt>
                <c:pt idx="36">
                  <c:v>-10.276159427685627</c:v>
                </c:pt>
                <c:pt idx="37">
                  <c:v>-5.0136965945347001</c:v>
                </c:pt>
                <c:pt idx="38">
                  <c:v>3.797518644558262</c:v>
                </c:pt>
                <c:pt idx="39">
                  <c:v>7.4938001142369703</c:v>
                </c:pt>
                <c:pt idx="40">
                  <c:v>8.2659629239030696</c:v>
                </c:pt>
                <c:pt idx="41">
                  <c:v>8.2381451287182763</c:v>
                </c:pt>
                <c:pt idx="42">
                  <c:v>11.715018503563158</c:v>
                </c:pt>
                <c:pt idx="43">
                  <c:v>15.841845911430607</c:v>
                </c:pt>
                <c:pt idx="44">
                  <c:v>24.17976364480694</c:v>
                </c:pt>
                <c:pt idx="45">
                  <c:v>19.354165440914617</c:v>
                </c:pt>
                <c:pt idx="46">
                  <c:v>14.133808054328178</c:v>
                </c:pt>
                <c:pt idx="47">
                  <c:v>21.081413292821559</c:v>
                </c:pt>
                <c:pt idx="48">
                  <c:v>18.97708844393069</c:v>
                </c:pt>
                <c:pt idx="49">
                  <c:v>13.567962855749727</c:v>
                </c:pt>
                <c:pt idx="50">
                  <c:v>18.180374404656142</c:v>
                </c:pt>
                <c:pt idx="51">
                  <c:v>18.397550069413793</c:v>
                </c:pt>
                <c:pt idx="52">
                  <c:v>24.30885699627725</c:v>
                </c:pt>
                <c:pt idx="53">
                  <c:v>15.563807818443042</c:v>
                </c:pt>
                <c:pt idx="54">
                  <c:v>16.085591539986787</c:v>
                </c:pt>
                <c:pt idx="55">
                  <c:v>9.7911816350200418</c:v>
                </c:pt>
                <c:pt idx="56">
                  <c:v>14.509230945730689</c:v>
                </c:pt>
                <c:pt idx="57">
                  <c:v>7.3961761308621199</c:v>
                </c:pt>
                <c:pt idx="58">
                  <c:v>8.0801022300612821</c:v>
                </c:pt>
                <c:pt idx="59">
                  <c:v>7.2036933111184531</c:v>
                </c:pt>
                <c:pt idx="60">
                  <c:v>7.7268734154087859</c:v>
                </c:pt>
                <c:pt idx="61">
                  <c:v>8.388463593918182</c:v>
                </c:pt>
                <c:pt idx="62">
                  <c:v>6.9528723125017233</c:v>
                </c:pt>
                <c:pt idx="63">
                  <c:v>6.4345644589801854</c:v>
                </c:pt>
                <c:pt idx="64">
                  <c:v>18.11105696554489</c:v>
                </c:pt>
                <c:pt idx="65">
                  <c:v>23.077055327187356</c:v>
                </c:pt>
                <c:pt idx="66">
                  <c:v>14.00548186186219</c:v>
                </c:pt>
                <c:pt idx="67">
                  <c:v>16.118644041504627</c:v>
                </c:pt>
                <c:pt idx="68">
                  <c:v>11.119031987549665</c:v>
                </c:pt>
                <c:pt idx="69">
                  <c:v>13.408069018898438</c:v>
                </c:pt>
                <c:pt idx="70">
                  <c:v>18.413098181802301</c:v>
                </c:pt>
                <c:pt idx="71">
                  <c:v>14.928951173637461</c:v>
                </c:pt>
                <c:pt idx="72">
                  <c:v>5.9946034582660124</c:v>
                </c:pt>
                <c:pt idx="73">
                  <c:v>15.205039124646902</c:v>
                </c:pt>
                <c:pt idx="74">
                  <c:v>9.8510169113861892</c:v>
                </c:pt>
                <c:pt idx="75">
                  <c:v>-0.89478437425941637</c:v>
                </c:pt>
                <c:pt idx="76">
                  <c:v>-4.8811518371515872</c:v>
                </c:pt>
                <c:pt idx="77">
                  <c:v>-5.8647634014318157</c:v>
                </c:pt>
                <c:pt idx="78">
                  <c:v>-6.657596190399973</c:v>
                </c:pt>
                <c:pt idx="79">
                  <c:v>4.8853799294645617</c:v>
                </c:pt>
                <c:pt idx="80">
                  <c:v>0.30906876238117054</c:v>
                </c:pt>
                <c:pt idx="81">
                  <c:v>-2.1817484662576714</c:v>
                </c:pt>
                <c:pt idx="82">
                  <c:v>3.1143446928507013</c:v>
                </c:pt>
                <c:pt idx="83">
                  <c:v>2.3507598582922284</c:v>
                </c:pt>
                <c:pt idx="84">
                  <c:v>9.2265675345114104</c:v>
                </c:pt>
                <c:pt idx="85">
                  <c:v>5.1482844420108309</c:v>
                </c:pt>
                <c:pt idx="86">
                  <c:v>8.429987368802184</c:v>
                </c:pt>
                <c:pt idx="87">
                  <c:v>15.4785755832741</c:v>
                </c:pt>
                <c:pt idx="88">
                  <c:v>18.213158762303962</c:v>
                </c:pt>
                <c:pt idx="89">
                  <c:v>16.576317558951061</c:v>
                </c:pt>
                <c:pt idx="90">
                  <c:v>17.146678784864822</c:v>
                </c:pt>
                <c:pt idx="91">
                  <c:v>12.734196884592365</c:v>
                </c:pt>
                <c:pt idx="92">
                  <c:v>11.545940900408812</c:v>
                </c:pt>
                <c:pt idx="93">
                  <c:v>16.430820691727742</c:v>
                </c:pt>
                <c:pt idx="94">
                  <c:v>20.336748783441404</c:v>
                </c:pt>
                <c:pt idx="95">
                  <c:v>2.5019524841606078</c:v>
                </c:pt>
                <c:pt idx="96">
                  <c:v>16.128190720821966</c:v>
                </c:pt>
                <c:pt idx="97">
                  <c:v>11.170121113029886</c:v>
                </c:pt>
                <c:pt idx="98">
                  <c:v>4.3048820283981826</c:v>
                </c:pt>
                <c:pt idx="99">
                  <c:v>10.488956048056108</c:v>
                </c:pt>
                <c:pt idx="100">
                  <c:v>1.119512991928362</c:v>
                </c:pt>
                <c:pt idx="101">
                  <c:v>5.0423443957818614</c:v>
                </c:pt>
                <c:pt idx="102">
                  <c:v>8.75302831797522</c:v>
                </c:pt>
                <c:pt idx="103">
                  <c:v>3.7825806961846453</c:v>
                </c:pt>
                <c:pt idx="104">
                  <c:v>0.55554694642885316</c:v>
                </c:pt>
                <c:pt idx="105">
                  <c:v>9.5932276937349403</c:v>
                </c:pt>
                <c:pt idx="106">
                  <c:v>1.1994147747105499</c:v>
                </c:pt>
                <c:pt idx="107">
                  <c:v>2.1329546223033846</c:v>
                </c:pt>
                <c:pt idx="108">
                  <c:v>-7.0158461352365364E-2</c:v>
                </c:pt>
                <c:pt idx="109">
                  <c:v>2.1702665559891532</c:v>
                </c:pt>
                <c:pt idx="110">
                  <c:v>5.6183903697209381</c:v>
                </c:pt>
                <c:pt idx="111">
                  <c:v>3.2827366128337809</c:v>
                </c:pt>
                <c:pt idx="112">
                  <c:v>0.89515074149371099</c:v>
                </c:pt>
                <c:pt idx="113">
                  <c:v>5.690979940696872</c:v>
                </c:pt>
                <c:pt idx="114">
                  <c:v>-1.8676052925578501</c:v>
                </c:pt>
                <c:pt idx="115">
                  <c:v>3.1232650039734855</c:v>
                </c:pt>
                <c:pt idx="116">
                  <c:v>7.7281378343183382</c:v>
                </c:pt>
                <c:pt idx="117">
                  <c:v>0.81100730794043674</c:v>
                </c:pt>
                <c:pt idx="118">
                  <c:v>-16.754241765983679</c:v>
                </c:pt>
                <c:pt idx="119">
                  <c:v>15.930359854504372</c:v>
                </c:pt>
                <c:pt idx="120">
                  <c:v>-0.18295508781152048</c:v>
                </c:pt>
                <c:pt idx="121">
                  <c:v>-4.0008899856388673</c:v>
                </c:pt>
                <c:pt idx="122">
                  <c:v>4.3585336534321728</c:v>
                </c:pt>
                <c:pt idx="123">
                  <c:v>1.0719992807019629</c:v>
                </c:pt>
                <c:pt idx="124">
                  <c:v>12.481841895627998</c:v>
                </c:pt>
                <c:pt idx="125">
                  <c:v>2.0885361615220699</c:v>
                </c:pt>
                <c:pt idx="126">
                  <c:v>15.566383880502844</c:v>
                </c:pt>
                <c:pt idx="127">
                  <c:v>-2.3618500689693955</c:v>
                </c:pt>
                <c:pt idx="128">
                  <c:v>12.239599166002058</c:v>
                </c:pt>
                <c:pt idx="129">
                  <c:v>6.0915200866782815</c:v>
                </c:pt>
                <c:pt idx="130">
                  <c:v>6.3001392880441598</c:v>
                </c:pt>
                <c:pt idx="131">
                  <c:v>5.1739368831485333</c:v>
                </c:pt>
                <c:pt idx="132">
                  <c:v>2.7382688929466159</c:v>
                </c:pt>
                <c:pt idx="133">
                  <c:v>10.987266738304434</c:v>
                </c:pt>
                <c:pt idx="134">
                  <c:v>4.6224020648159447</c:v>
                </c:pt>
                <c:pt idx="135">
                  <c:v>1.6275383532950993</c:v>
                </c:pt>
                <c:pt idx="136">
                  <c:v>4.505846247847578</c:v>
                </c:pt>
                <c:pt idx="137">
                  <c:v>9.4762112001767207E-3</c:v>
                </c:pt>
                <c:pt idx="138">
                  <c:v>-6.9112240628811055</c:v>
                </c:pt>
                <c:pt idx="139">
                  <c:v>5.8016664744550805</c:v>
                </c:pt>
                <c:pt idx="140">
                  <c:v>-1.6301248084220954</c:v>
                </c:pt>
                <c:pt idx="141">
                  <c:v>1.793282610360758</c:v>
                </c:pt>
                <c:pt idx="142">
                  <c:v>11.11249331359547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74A4-48FF-BC44-BB7596F09D95}"/>
            </c:ext>
          </c:extLst>
        </c:ser>
        <c:ser>
          <c:idx val="1"/>
          <c:order val="1"/>
          <c:tx>
            <c:v>Předpověď růstu exportu</c:v>
          </c:tx>
          <c:spPr>
            <a:ln>
              <a:prstDash val="sysDash"/>
            </a:ln>
          </c:spPr>
          <c:marker>
            <c:symbol val="none"/>
          </c:marker>
          <c:cat>
            <c:numRef>
              <c:f>'Původní model (M 1)'!$A$3:$A$150</c:f>
              <c:numCache>
                <c:formatCode>m/d/yyyy</c:formatCode>
                <c:ptCount val="148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</c:numCache>
            </c:numRef>
          </c:cat>
          <c:val>
            <c:numRef>
              <c:f>'Původní model (M 1)'!$C$3:$C$150</c:f>
              <c:numCache>
                <c:formatCode>General</c:formatCode>
                <c:ptCount val="148"/>
                <c:pt idx="142" formatCode="0.00">
                  <c:v>11.112493313595472</c:v>
                </c:pt>
                <c:pt idx="143" formatCode="0.00">
                  <c:v>1.48946688478546</c:v>
                </c:pt>
                <c:pt idx="144" formatCode="0.00">
                  <c:v>4.9040101901966704</c:v>
                </c:pt>
                <c:pt idx="145" formatCode="0.00">
                  <c:v>9.0912533577810901</c:v>
                </c:pt>
                <c:pt idx="146" formatCode="0.00">
                  <c:v>6.7291358125663203</c:v>
                </c:pt>
                <c:pt idx="147" formatCode="0.00">
                  <c:v>7.311345997909129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74A4-48FF-BC44-BB7596F09D95}"/>
            </c:ext>
          </c:extLst>
        </c:ser>
        <c:ser>
          <c:idx val="3"/>
          <c:order val="2"/>
          <c:tx>
            <c:v>Předpověď růstu exportu s trhem práce (neočištěno)</c:v>
          </c:tx>
          <c:spPr>
            <a:ln>
              <a:solidFill>
                <a:srgbClr val="4F81BD"/>
              </a:solidFill>
              <a:prstDash val="sysDash"/>
            </a:ln>
          </c:spPr>
          <c:marker>
            <c:symbol val="none"/>
          </c:marker>
          <c:cat>
            <c:numRef>
              <c:f>'Původní model (M 1)'!$A$3:$A$150</c:f>
              <c:numCache>
                <c:formatCode>m/d/yyyy</c:formatCode>
                <c:ptCount val="148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</c:numCache>
            </c:numRef>
          </c:cat>
          <c:val>
            <c:numRef>
              <c:f>'Model s neočišť. nez. (M 2b)'!$D$3:$D$150</c:f>
              <c:numCache>
                <c:formatCode>General</c:formatCode>
                <c:ptCount val="148"/>
                <c:pt idx="142" formatCode="0.00">
                  <c:v>11.112493313595472</c:v>
                </c:pt>
                <c:pt idx="143" formatCode="0.00">
                  <c:v>0.56527597773617699</c:v>
                </c:pt>
                <c:pt idx="144" formatCode="0.00">
                  <c:v>3.4989644697419</c:v>
                </c:pt>
                <c:pt idx="145" formatCode="0.00">
                  <c:v>7.2694276458978804</c:v>
                </c:pt>
                <c:pt idx="146" formatCode="0.00">
                  <c:v>5.3445685585019698</c:v>
                </c:pt>
                <c:pt idx="147" formatCode="0.00">
                  <c:v>7.031570110373720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069B-4DAE-A7C6-58E0655E20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9366528"/>
        <c:axId val="69368064"/>
        <c:extLst xmlns:c16r2="http://schemas.microsoft.com/office/drawing/2015/06/chart">
          <c:ext xmlns:c15="http://schemas.microsoft.com/office/drawing/2012/chart" uri="{02D57815-91ED-43cb-92C2-25804820EDAC}">
            <c15:filteredLineSeries>
              <c15:ser>
                <c:idx val="2"/>
                <c:order val="3"/>
                <c:tx>
                  <c:v>IFO</c:v>
                </c:tx>
                <c:marker>
                  <c:symbol val="none"/>
                </c:marker>
                <c:val>
                  <c:numRef>
                    <c:extLst>
                      <c:ext uri="{02D57815-91ED-43cb-92C2-25804820EDAC}">
                        <c15:formulaRef>
                          <c15:sqref>'Model s neoč. nez. a IFO (M 3b)'!$C$3:$C$150</c15:sqref>
                        </c15:formulaRef>
                      </c:ext>
                    </c:extLst>
                    <c:numCache>
                      <c:formatCode>0.00</c:formatCode>
                      <c:ptCount val="148"/>
                      <c:pt idx="142">
                        <c:v>11.112493313595472</c:v>
                      </c:pt>
                      <c:pt idx="143">
                        <c:v>1.5443436563183099</c:v>
                      </c:pt>
                      <c:pt idx="144">
                        <c:v>4.1425039611471099</c:v>
                      </c:pt>
                      <c:pt idx="145">
                        <c:v>7.8882143053295799</c:v>
                      </c:pt>
                      <c:pt idx="146">
                        <c:v>6.6357982240206903</c:v>
                      </c:pt>
                      <c:pt idx="147">
                        <c:v>8.2150040468062802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2-FBCD-42E3-A2B9-7355FCCE8BC7}"/>
                  </c:ext>
                </c:extLst>
              </c15:ser>
            </c15:filteredLineSeries>
          </c:ext>
        </c:extLst>
      </c:lineChart>
      <c:dateAx>
        <c:axId val="69366528"/>
        <c:scaling>
          <c:orientation val="minMax"/>
          <c:max val="43435"/>
          <c:min val="42401"/>
        </c:scaling>
        <c:delete val="0"/>
        <c:axPos val="b"/>
        <c:majorGridlines/>
        <c:numFmt formatCode="mm\/yy" sourceLinked="0"/>
        <c:majorTickMark val="none"/>
        <c:minorTickMark val="none"/>
        <c:tickLblPos val="low"/>
        <c:crossAx val="69368064"/>
        <c:crosses val="autoZero"/>
        <c:auto val="1"/>
        <c:lblOffset val="100"/>
        <c:baseTimeUnit val="months"/>
        <c:majorUnit val="2"/>
        <c:majorTimeUnit val="months"/>
      </c:dateAx>
      <c:valAx>
        <c:axId val="6936806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 algn="ctr" rtl="0">
                  <a:defRPr/>
                </a:pPr>
                <a:r>
                  <a:rPr lang="en-US"/>
                  <a:t>meziroční změna v %</a:t>
                </a:r>
                <a:endParaRPr lang="cs-CZ"/>
              </a:p>
            </c:rich>
          </c:tx>
          <c:layout>
            <c:manualLayout>
              <c:xMode val="edge"/>
              <c:yMode val="edge"/>
              <c:x val="4.1580241002746885E-4"/>
              <c:y val="0.16069679552251093"/>
            </c:manualLayout>
          </c:layout>
          <c:overlay val="0"/>
        </c:title>
        <c:numFmt formatCode="0" sourceLinked="0"/>
        <c:majorTickMark val="none"/>
        <c:minorTickMark val="none"/>
        <c:tickLblPos val="nextTo"/>
        <c:spPr>
          <a:ln w="9525">
            <a:noFill/>
          </a:ln>
        </c:spPr>
        <c:crossAx val="69366528"/>
        <c:crossesAt val="42095"/>
        <c:crossBetween val="midCat"/>
      </c:valAx>
    </c:plotArea>
    <c:legend>
      <c:legendPos val="b"/>
      <c:layout>
        <c:manualLayout>
          <c:xMode val="edge"/>
          <c:yMode val="edge"/>
          <c:x val="8.1249334017579108E-3"/>
          <c:y val="0.82126636635511086"/>
          <c:w val="0.96077903104692752"/>
          <c:h val="0.15626710567015512"/>
        </c:manualLayout>
      </c:layout>
      <c:overlay val="0"/>
    </c:legend>
    <c:plotVisOnly val="0"/>
    <c:dispBlanksAs val="gap"/>
    <c:showDLblsOverMax val="0"/>
  </c:chart>
  <c:spPr>
    <a:ln>
      <a:noFill/>
    </a:ln>
  </c:spPr>
  <c:txPr>
    <a:bodyPr/>
    <a:lstStyle/>
    <a:p>
      <a:pPr>
        <a:defRPr sz="1200"/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88888888888889E-2"/>
          <c:y val="8.1345928656650884E-2"/>
          <c:w val="0.93888888888888888"/>
          <c:h val="0.5931444340890109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edián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  <a:headEnd type="none"/>
              <a:tailEnd type="triangle"/>
            </a:ln>
          </c:spPr>
          <c:marker>
            <c:symbol val="none"/>
          </c:marker>
          <c:dPt>
            <c:idx val="1"/>
            <c:bubble3D val="0"/>
            <c:spPr>
              <a:ln cap="rnd">
                <a:solidFill>
                  <a:schemeClr val="bg1">
                    <a:lumMod val="65000"/>
                  </a:schemeClr>
                </a:solidFill>
                <a:round/>
                <a:headEnd type="none"/>
                <a:tailEnd type="triangle" w="lg" len="sm"/>
              </a:ln>
            </c:spPr>
          </c:dPt>
          <c:dLbls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sz="1100" b="1">
                    <a:solidFill>
                      <a:schemeClr val="bg1">
                        <a:lumMod val="50000"/>
                      </a:schemeClr>
                    </a:solidFill>
                  </a:defRPr>
                </a:pPr>
                <a:endParaRPr lang="cs-CZ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4:$A$13</c:f>
              <c:strCache>
                <c:ptCount val="10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</c:strCache>
            </c:strRef>
          </c:cat>
          <c:val>
            <c:numRef>
              <c:f>Sheet1!$B$4:$B$13</c:f>
              <c:numCache>
                <c:formatCode>0.0</c:formatCode>
                <c:ptCount val="10"/>
                <c:pt idx="0">
                  <c:v>51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1.5</c:v>
                </c:pt>
                <c:pt idx="7">
                  <c:v>52.5</c:v>
                </c:pt>
                <c:pt idx="8">
                  <c:v>50</c:v>
                </c:pt>
                <c:pt idx="9">
                  <c:v>50</c:v>
                </c:pt>
              </c:numCache>
            </c:numRef>
          </c:val>
          <c:smooth val="1"/>
        </c:ser>
        <c:ser>
          <c:idx val="1"/>
          <c:order val="1"/>
          <c:tx>
            <c:strRef>
              <c:f>Sheet1!$I$1</c:f>
              <c:strCache>
                <c:ptCount val="1"/>
                <c:pt idx="0">
                  <c:v>průměr</c:v>
                </c:pt>
              </c:strCache>
            </c:strRef>
          </c:tx>
          <c:spPr>
            <a:ln>
              <a:solidFill>
                <a:srgbClr val="FFC000"/>
              </a:solidFill>
              <a:headEnd type="none"/>
              <a:tailEnd type="triangle"/>
            </a:ln>
          </c:spPr>
          <c:marker>
            <c:symbol val="none"/>
          </c:marker>
          <c:dLbls>
            <c:numFmt formatCode="#,##0.0" sourceLinked="0"/>
            <c:txPr>
              <a:bodyPr/>
              <a:lstStyle/>
              <a:p>
                <a:pPr>
                  <a:defRPr sz="1100" b="1">
                    <a:solidFill>
                      <a:srgbClr val="FFC000"/>
                    </a:solidFill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4:$A$13</c:f>
              <c:strCache>
                <c:ptCount val="10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</c:strCache>
            </c:strRef>
          </c:cat>
          <c:val>
            <c:numRef>
              <c:f>Sheet1!$I$4:$I$13</c:f>
              <c:numCache>
                <c:formatCode>0.00</c:formatCode>
                <c:ptCount val="10"/>
                <c:pt idx="0">
                  <c:v>56.13</c:v>
                </c:pt>
                <c:pt idx="1">
                  <c:v>53.23</c:v>
                </c:pt>
                <c:pt idx="2">
                  <c:v>52.756756756756758</c:v>
                </c:pt>
                <c:pt idx="3">
                  <c:v>52.13</c:v>
                </c:pt>
                <c:pt idx="4">
                  <c:v>54.9</c:v>
                </c:pt>
                <c:pt idx="5">
                  <c:v>54.68</c:v>
                </c:pt>
                <c:pt idx="6">
                  <c:v>56.94</c:v>
                </c:pt>
                <c:pt idx="7">
                  <c:v>53.863636363636367</c:v>
                </c:pt>
                <c:pt idx="8">
                  <c:v>52.45</c:v>
                </c:pt>
                <c:pt idx="9">
                  <c:v>50.877551020408163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9112576"/>
        <c:axId val="69114112"/>
      </c:lineChart>
      <c:catAx>
        <c:axId val="691125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/>
          <a:lstStyle/>
          <a:p>
            <a:pPr>
              <a:defRPr sz="1050"/>
            </a:pPr>
            <a:endParaRPr lang="cs-CZ"/>
          </a:p>
        </c:txPr>
        <c:crossAx val="69114112"/>
        <c:crosses val="autoZero"/>
        <c:auto val="1"/>
        <c:lblAlgn val="ctr"/>
        <c:lblOffset val="100"/>
        <c:noMultiLvlLbl val="0"/>
      </c:catAx>
      <c:valAx>
        <c:axId val="69114112"/>
        <c:scaling>
          <c:orientation val="minMax"/>
        </c:scaling>
        <c:delete val="1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crossAx val="69112576"/>
        <c:crosses val="autoZero"/>
        <c:crossBetween val="between"/>
        <c:majorUnit val="4"/>
      </c:valAx>
    </c:plotArea>
    <c:legend>
      <c:legendPos val="b"/>
      <c:layout>
        <c:manualLayout>
          <c:xMode val="edge"/>
          <c:yMode val="edge"/>
          <c:x val="0.35292088815193173"/>
          <c:y val="0.79275795598128018"/>
          <c:w val="0.4139918337304283"/>
          <c:h val="0.19242020863713316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200"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88888888888889E-2"/>
          <c:y val="8.1345928656650884E-2"/>
          <c:w val="0.93888888888888888"/>
          <c:h val="0.65329456833960553"/>
        </c:manualLayout>
      </c:layout>
      <c:lineChart>
        <c:grouping val="standard"/>
        <c:varyColors val="0"/>
        <c:ser>
          <c:idx val="0"/>
          <c:order val="0"/>
          <c:tx>
            <c:strRef>
              <c:f>Sheet1!$C$2</c:f>
              <c:strCache>
                <c:ptCount val="1"/>
                <c:pt idx="0">
                  <c:v>medián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  <a:headEnd type="none"/>
              <a:tailEnd type="triangle"/>
            </a:ln>
          </c:spPr>
          <c:marker>
            <c:symbol val="none"/>
          </c:marker>
          <c:dPt>
            <c:idx val="1"/>
            <c:bubble3D val="0"/>
            <c:spPr>
              <a:ln cap="rnd">
                <a:solidFill>
                  <a:schemeClr val="bg1">
                    <a:lumMod val="65000"/>
                  </a:schemeClr>
                </a:solidFill>
                <a:round/>
                <a:headEnd type="none"/>
                <a:tailEnd type="triangle" w="lg" len="sm"/>
              </a:ln>
            </c:spPr>
          </c:dPt>
          <c:dLbls>
            <c:dLbl>
              <c:idx val="0"/>
              <c:layout>
                <c:manualLayout>
                  <c:x val="-5.9111111111111114E-2"/>
                  <c:y val="0.1283373533654514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5.3555555555555558E-2"/>
                  <c:y val="0.1173578499356645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4.7999999999999952E-2"/>
                  <c:y val="0.122150190218728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5.3555555555555558E-2"/>
                  <c:y val="9.95245867340180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3.9847112860892389E-2"/>
                  <c:y val="0.1097758639252824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b="1">
                    <a:solidFill>
                      <a:schemeClr val="bg1">
                        <a:lumMod val="50000"/>
                      </a:schemeClr>
                    </a:solidFill>
                  </a:defRPr>
                </a:pPr>
                <a:endParaRPr lang="cs-CZ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5:$A$14</c:f>
              <c:strCache>
                <c:ptCount val="10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</c:strCache>
            </c:strRef>
          </c:cat>
          <c:val>
            <c:numRef>
              <c:f>Sheet1!$C$5:$C$14</c:f>
              <c:numCache>
                <c:formatCode>0.0</c:formatCode>
                <c:ptCount val="10"/>
                <c:pt idx="0">
                  <c:v>54</c:v>
                </c:pt>
                <c:pt idx="1">
                  <c:v>50</c:v>
                </c:pt>
                <c:pt idx="2">
                  <c:v>50</c:v>
                </c:pt>
                <c:pt idx="3">
                  <c:v>54.5</c:v>
                </c:pt>
                <c:pt idx="4">
                  <c:v>50</c:v>
                </c:pt>
                <c:pt idx="5">
                  <c:v>51.5</c:v>
                </c:pt>
                <c:pt idx="6">
                  <c:v>50.5</c:v>
                </c:pt>
                <c:pt idx="7">
                  <c:v>54</c:v>
                </c:pt>
                <c:pt idx="8">
                  <c:v>50</c:v>
                </c:pt>
                <c:pt idx="9">
                  <c:v>50</c:v>
                </c:pt>
              </c:numCache>
            </c:numRef>
          </c:val>
          <c:smooth val="1"/>
        </c:ser>
        <c:ser>
          <c:idx val="1"/>
          <c:order val="1"/>
          <c:tx>
            <c:strRef>
              <c:f>Sheet1!$J$2</c:f>
              <c:strCache>
                <c:ptCount val="1"/>
                <c:pt idx="0">
                  <c:v>průměr</c:v>
                </c:pt>
              </c:strCache>
            </c:strRef>
          </c:tx>
          <c:spPr>
            <a:ln>
              <a:solidFill>
                <a:srgbClr val="FFC000"/>
              </a:solidFill>
              <a:headEnd type="none"/>
              <a:tailEnd type="triangle"/>
            </a:ln>
          </c:spPr>
          <c:marker>
            <c:symbol val="none"/>
          </c:marker>
          <c:dLbls>
            <c:numFmt formatCode="#,##0.0" sourceLinked="0"/>
            <c:txPr>
              <a:bodyPr/>
              <a:lstStyle/>
              <a:p>
                <a:pPr>
                  <a:defRPr b="1">
                    <a:solidFill>
                      <a:srgbClr val="FFC000"/>
                    </a:solidFill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5:$A$14</c:f>
              <c:strCache>
                <c:ptCount val="10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</c:strCache>
            </c:strRef>
          </c:cat>
          <c:val>
            <c:numRef>
              <c:f>Sheet1!$J$5:$J$14</c:f>
              <c:numCache>
                <c:formatCode>0.00</c:formatCode>
                <c:ptCount val="10"/>
                <c:pt idx="0">
                  <c:v>58.47</c:v>
                </c:pt>
                <c:pt idx="1">
                  <c:v>53.77</c:v>
                </c:pt>
                <c:pt idx="2">
                  <c:v>53.513513513513516</c:v>
                </c:pt>
                <c:pt idx="3">
                  <c:v>55.42</c:v>
                </c:pt>
                <c:pt idx="4">
                  <c:v>54.83</c:v>
                </c:pt>
                <c:pt idx="5">
                  <c:v>57.22</c:v>
                </c:pt>
                <c:pt idx="6">
                  <c:v>54.02</c:v>
                </c:pt>
                <c:pt idx="7">
                  <c:v>55.727272727272727</c:v>
                </c:pt>
                <c:pt idx="8">
                  <c:v>54.03</c:v>
                </c:pt>
                <c:pt idx="9">
                  <c:v>54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9154688"/>
        <c:axId val="69156224"/>
      </c:lineChart>
      <c:catAx>
        <c:axId val="691546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/>
            </a:pPr>
            <a:endParaRPr lang="cs-CZ"/>
          </a:p>
        </c:txPr>
        <c:crossAx val="69156224"/>
        <c:crosses val="autoZero"/>
        <c:auto val="1"/>
        <c:lblAlgn val="ctr"/>
        <c:lblOffset val="100"/>
        <c:noMultiLvlLbl val="0"/>
      </c:catAx>
      <c:valAx>
        <c:axId val="69156224"/>
        <c:scaling>
          <c:orientation val="minMax"/>
        </c:scaling>
        <c:delete val="1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crossAx val="69154688"/>
        <c:crosses val="autoZero"/>
        <c:crossBetween val="between"/>
        <c:majorUnit val="4"/>
      </c:valAx>
    </c:plotArea>
    <c:legend>
      <c:legendPos val="b"/>
      <c:layout>
        <c:manualLayout>
          <c:xMode val="edge"/>
          <c:yMode val="edge"/>
          <c:x val="0.24471962134680622"/>
          <c:y val="0.87864975638654086"/>
          <c:w val="0.62422517030096325"/>
          <c:h val="0.12085492493831032"/>
        </c:manualLayout>
      </c:layout>
      <c:overlay val="0"/>
      <c:txPr>
        <a:bodyPr/>
        <a:lstStyle/>
        <a:p>
          <a:pPr>
            <a:defRPr sz="1200"/>
          </a:pPr>
          <a:endParaRPr lang="cs-CZ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100"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141849044466738E-2"/>
          <c:y val="1.620537450173731E-2"/>
          <c:w val="0.86736899858121985"/>
          <c:h val="0.847753681202754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zkrácený_týden!$B$1</c:f>
              <c:strCache>
                <c:ptCount val="1"/>
                <c:pt idx="0">
                  <c:v>Vnímání zkrácení pracovního týdne o 0,5 hodiny na 37,5 hodin týdně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92D050"/>
              </a:solidFill>
            </c:spPr>
          </c:dPt>
          <c:dPt>
            <c:idx val="1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solidFill>
                  <a:schemeClr val="accent6">
                    <a:lumMod val="20000"/>
                    <a:lumOff val="80000"/>
                  </a:schemeClr>
                </a:solidFill>
              </a:ln>
            </c:spPr>
          </c:dPt>
          <c:dLbls>
            <c:txPr>
              <a:bodyPr/>
              <a:lstStyle/>
              <a:p>
                <a:pPr>
                  <a:defRPr sz="14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zkrácený_týden!$A$2:$A$4</c:f>
              <c:strCache>
                <c:ptCount val="3"/>
                <c:pt idx="0">
                  <c:v>POZITIVNĚ</c:v>
                </c:pt>
                <c:pt idx="1">
                  <c:v>NEUTRÁLNĚ</c:v>
                </c:pt>
                <c:pt idx="2">
                  <c:v>NEGATIVNĚ</c:v>
                </c:pt>
              </c:strCache>
            </c:strRef>
          </c:cat>
          <c:val>
            <c:numRef>
              <c:f>zkrácený_týden!$B$2:$B$4</c:f>
              <c:numCache>
                <c:formatCode>0%</c:formatCode>
                <c:ptCount val="3"/>
                <c:pt idx="0">
                  <c:v>0.10204081632653061</c:v>
                </c:pt>
                <c:pt idx="1">
                  <c:v>0.18367346938775511</c:v>
                </c:pt>
                <c:pt idx="2">
                  <c:v>0.714285714285714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9215360"/>
        <c:axId val="69216896"/>
      </c:barChart>
      <c:catAx>
        <c:axId val="69215360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400" b="1"/>
            </a:pPr>
            <a:endParaRPr lang="cs-CZ"/>
          </a:p>
        </c:txPr>
        <c:crossAx val="69216896"/>
        <c:crosses val="autoZero"/>
        <c:auto val="1"/>
        <c:lblAlgn val="ctr"/>
        <c:lblOffset val="100"/>
        <c:noMultiLvlLbl val="0"/>
      </c:catAx>
      <c:valAx>
        <c:axId val="69216896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69215360"/>
        <c:crosses val="autoZero"/>
        <c:crossBetween val="between"/>
        <c:majorUnit val="0.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r">
              <a:defRPr sz="1200"/>
            </a:lvl1pPr>
          </a:lstStyle>
          <a:p>
            <a:fld id="{01C43E83-CE4B-4660-8631-0654C7339C26}" type="datetimeFigureOut">
              <a:rPr lang="en-US" smtClean="0"/>
              <a:t>10/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r">
              <a:defRPr sz="1200"/>
            </a:lvl1pPr>
          </a:lstStyle>
          <a:p>
            <a:fld id="{52823D16-DBED-445A-AD8F-3AF01E63F6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720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r">
              <a:defRPr sz="1200"/>
            </a:lvl1pPr>
          </a:lstStyle>
          <a:p>
            <a:fld id="{F3E8078F-9A6C-4213-B0AF-7C4FD611FCD4}" type="datetimeFigureOut">
              <a:rPr lang="de-DE" smtClean="0"/>
              <a:t>02.10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5175" y="744538"/>
            <a:ext cx="526732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70" tIns="46136" rIns="92270" bIns="46136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270" tIns="46136" rIns="92270" bIns="46136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r">
              <a:defRPr sz="1200"/>
            </a:lvl1pPr>
          </a:lstStyle>
          <a:p>
            <a:fld id="{4F21D172-57C7-4E47-972B-9A6AD89F10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4770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5175" y="744538"/>
            <a:ext cx="5267325" cy="3724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485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9252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2485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95"/>
          <a:stretch/>
        </p:blipFill>
        <p:spPr>
          <a:xfrm>
            <a:off x="-5309" y="0"/>
            <a:ext cx="10698709" cy="7561264"/>
          </a:xfrm>
          <a:prstGeom prst="rect">
            <a:avLst/>
          </a:prstGeom>
        </p:spPr>
      </p:pic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764425" y="4603443"/>
            <a:ext cx="9159240" cy="692497"/>
          </a:xfrm>
          <a:noFill/>
          <a:extLst>
            <a:ext uri="{909E8E84-426E-40DD-AFC4-6F175D3DCCD1}">
              <a14:hiddenFill xmlns:a14="http://schemas.microsoft.com/office/drawing/2010/main">
                <a:blipFill dpi="0" rotWithShape="1">
                  <a:blip r:embed="rId7">
                    <a:extLst>
                      <a:ext uri="{28A0092B-C50C-407E-A947-70E740481C1C}">
                        <a14:useLocalDpi val="0"/>
                      </a:ext>
                    </a:extLst>
                  </a:blip>
                  <a:srcRect/>
                  <a:stretch>
                    <a:fillRect/>
                  </a:stretch>
                </a:blipFill>
              </a14:hiddenFill>
            </a:ext>
          </a:extLst>
        </p:spPr>
        <p:txBody>
          <a:bodyPr wrap="square" lIns="0" tIns="0" rIns="0" bIns="0" anchor="b" anchorCtr="0">
            <a:spAutoFit/>
          </a:bodyPr>
          <a:lstStyle>
            <a:lvl1pPr>
              <a:spcBef>
                <a:spcPts val="0"/>
              </a:spcBef>
              <a:defRPr sz="4500" b="1"/>
            </a:lvl1pPr>
            <a:lvl2pPr>
              <a:spcBef>
                <a:spcPts val="0"/>
              </a:spcBef>
              <a:defRPr sz="3000" b="1"/>
            </a:lvl2pPr>
            <a:lvl3pPr marL="0" indent="0" algn="l">
              <a:spcBef>
                <a:spcPts val="0"/>
              </a:spcBef>
              <a:buNone/>
              <a:defRPr sz="3000" b="1"/>
            </a:lvl3pPr>
            <a:lvl4pPr marL="0" indent="0">
              <a:spcBef>
                <a:spcPts val="0"/>
              </a:spcBef>
              <a:buNone/>
              <a:defRPr sz="3000" b="1"/>
            </a:lvl4pPr>
            <a:lvl5pPr marL="0" indent="0">
              <a:spcBef>
                <a:spcPts val="0"/>
              </a:spcBef>
              <a:buNone/>
              <a:defRPr sz="3000" b="1"/>
            </a:lvl5pPr>
            <a:lvl6pPr marL="0" indent="0">
              <a:spcBef>
                <a:spcPts val="0"/>
              </a:spcBef>
              <a:buNone/>
              <a:defRPr sz="3000" b="1">
                <a:latin typeface="Century Gothic" pitchFamily="34" charset="0"/>
              </a:defRPr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Datumsplatzhalt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CD607-6B7C-49A6-87F4-0A7E813A5AB3}" type="datetime1">
              <a:rPr lang="en-GB" noProof="0" smtClean="0"/>
              <a:t>02/10/2018</a:t>
            </a:fld>
            <a:endParaRPr lang="en-US" noProof="0"/>
          </a:p>
        </p:txBody>
      </p:sp>
      <p:sp>
        <p:nvSpPr>
          <p:cNvPr id="5" name="Fußzeilenplatzhalter 4" hidden="1"/>
          <p:cNvSpPr>
            <a:spLocks noGrp="1"/>
          </p:cNvSpPr>
          <p:nvPr>
            <p:ph type="ftr" sz="quarter" idx="11"/>
          </p:nvPr>
        </p:nvSpPr>
        <p:spPr>
          <a:xfrm>
            <a:off x="899160" y="7176199"/>
            <a:ext cx="3609334" cy="385064"/>
          </a:xfrm>
        </p:spPr>
        <p:txBody>
          <a:bodyPr/>
          <a:lstStyle/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6" name="Foliennummernplatzhalt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64425" y="5511484"/>
            <a:ext cx="5522075" cy="615553"/>
          </a:xfr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 baseline="0">
                <a:solidFill>
                  <a:schemeClr val="tx1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 smtClean="0"/>
              <a:t>Click here to add your subtitle and the name of speaker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10" y="321360"/>
            <a:ext cx="3568578" cy="252173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3058" y="687458"/>
            <a:ext cx="3590544" cy="1374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795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875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1406" y="169459"/>
            <a:ext cx="7766198" cy="76018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CB126-652A-4818-8A8F-CE66FE08CD68}" type="datetime1">
              <a:rPr lang="en-GB" noProof="0" smtClean="0"/>
              <a:t>02/10/2018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484" y="7176199"/>
            <a:ext cx="4256010" cy="385064"/>
          </a:xfrm>
        </p:spPr>
        <p:txBody>
          <a:bodyPr/>
          <a:lstStyle/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184906" y="7176199"/>
            <a:ext cx="4257868" cy="385064"/>
          </a:xfrm>
        </p:spPr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8773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09274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52483" y="259190"/>
            <a:ext cx="7130671" cy="74496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2483" y="1520796"/>
            <a:ext cx="10188200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 smtClean="0"/>
              <a:t>The first level</a:t>
            </a:r>
          </a:p>
          <a:p>
            <a:pPr lvl="1"/>
            <a:r>
              <a:rPr lang="en-US" noProof="0" dirty="0" smtClean="0"/>
              <a:t>The second level</a:t>
            </a:r>
          </a:p>
          <a:p>
            <a:pPr lvl="2"/>
            <a:r>
              <a:rPr lang="en-US" noProof="0" dirty="0" smtClean="0"/>
              <a:t>The third level</a:t>
            </a:r>
          </a:p>
          <a:p>
            <a:pPr lvl="3"/>
            <a:r>
              <a:rPr lang="en-US" noProof="0" dirty="0" smtClean="0"/>
              <a:t>The fourth level</a:t>
            </a:r>
          </a:p>
          <a:p>
            <a:pPr lvl="4"/>
            <a:r>
              <a:rPr lang="en-US" noProof="0" dirty="0" smtClean="0"/>
              <a:t>The 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07408" y="7176199"/>
            <a:ext cx="1676509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FFCB4416-7B04-42E2-A694-ECB895EF5005}" type="datetime1">
              <a:rPr lang="en-GB" noProof="0" smtClean="0"/>
              <a:t>02/10/2018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2483" y="7176199"/>
            <a:ext cx="4256011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184906" y="7176199"/>
            <a:ext cx="4257868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2EFE9AD8-4CF8-4A0A-8D8A-B8E100449A7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11" name="Gerade Verbindung 8"/>
          <p:cNvCxnSpPr/>
          <p:nvPr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511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43056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Century Gothic" pitchFamily="34" charset="0"/>
          <a:ea typeface="+mj-ea"/>
          <a:cs typeface="Arial" pitchFamily="34" charset="0"/>
        </a:defRPr>
      </a:lvl1pPr>
    </p:titleStyle>
    <p:bodyStyle>
      <a:lvl1pPr marL="0" indent="0" algn="l" defTabSz="1043056" rtl="0" eaLnBrk="1" latinLnBrk="0" hangingPunct="1">
        <a:spcBef>
          <a:spcPts val="0"/>
        </a:spcBef>
        <a:buFont typeface="Arial" pitchFamily="34" charset="0"/>
        <a:buNone/>
        <a:defRPr sz="1800" b="0" kern="1200" baseline="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8438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4111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609600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808038" indent="-18256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10207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6pPr>
      <a:lvl7pPr marL="1235075" indent="-21431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7pPr>
      <a:lvl8pPr marL="1227764" indent="-206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8pPr>
      <a:lvl9pPr marL="1227764" indent="0" algn="l" defTabSz="1043056" rtl="0" eaLnBrk="1" latinLnBrk="0" hangingPunct="1">
        <a:spcBef>
          <a:spcPts val="0"/>
        </a:spcBef>
        <a:buFont typeface="Wingdings" pitchFamily="2" charset="2"/>
        <a:buNone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6.xml"/><Relationship Id="rId7" Type="http://schemas.openxmlformats.org/officeDocument/2006/relationships/image" Target="../media/image7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764424" y="4803499"/>
            <a:ext cx="9928976" cy="492443"/>
          </a:xfrm>
        </p:spPr>
        <p:txBody>
          <a:bodyPr/>
          <a:lstStyle/>
          <a:p>
            <a:r>
              <a:rPr lang="cs-CZ" sz="3200" dirty="0" smtClean="0"/>
              <a:t>Index Exportu</a:t>
            </a:r>
            <a:r>
              <a:rPr lang="cs-CZ" sz="3200" dirty="0"/>
              <a:t>: závěr roku přinese oživení</a:t>
            </a:r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 bwMode="gray">
          <a:xfrm>
            <a:off x="764425" y="5511484"/>
            <a:ext cx="7598525" cy="923330"/>
          </a:xfrm>
        </p:spPr>
        <p:txBody>
          <a:bodyPr/>
          <a:lstStyle/>
          <a:p>
            <a:r>
              <a:rPr lang="cs-CZ" dirty="0" smtClean="0"/>
              <a:t>Helena Horská, hlavní ekonomka Raiffeisenbank a.s.</a:t>
            </a:r>
          </a:p>
          <a:p>
            <a:r>
              <a:rPr lang="en-US" dirty="0" smtClean="0"/>
              <a:t>h</a:t>
            </a:r>
            <a:r>
              <a:rPr lang="cs-CZ" dirty="0" err="1" smtClean="0"/>
              <a:t>elena.horska</a:t>
            </a:r>
            <a:r>
              <a:rPr lang="en-US" dirty="0" smtClean="0"/>
              <a:t>@rb.cz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67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2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130092"/>
            <a:ext cx="9784030" cy="760181"/>
          </a:xfrm>
        </p:spPr>
        <p:txBody>
          <a:bodyPr/>
          <a:lstStyle/>
          <a:p>
            <a:pPr algn="ctr"/>
            <a:r>
              <a:rPr lang="cs-CZ" sz="2400" dirty="0" smtClean="0"/>
              <a:t>IE: závěr </a:t>
            </a:r>
            <a:r>
              <a:rPr lang="cs-CZ" sz="2400" dirty="0"/>
              <a:t>roku přinese oživení, podle průzkumu ale jen přechodné</a:t>
            </a:r>
            <a:endParaRPr lang="en-US" sz="240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2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328681" y="6967537"/>
            <a:ext cx="9912549" cy="4476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sz="1100" i="1" dirty="0"/>
              <a:t>Zdroj: Výpočet Raiffeisenbank ve spolupráci s Asociací Exportérů, data k 27</a:t>
            </a:r>
            <a:r>
              <a:rPr lang="cs-CZ" sz="1100" i="1" dirty="0" smtClean="0"/>
              <a:t>. 9. 2018.</a:t>
            </a:r>
            <a:endParaRPr lang="cs-CZ" sz="1100" i="1" dirty="0"/>
          </a:p>
          <a:p>
            <a:r>
              <a:rPr lang="cs-CZ" sz="1100" i="1" dirty="0"/>
              <a:t>Pozn.: Údaje do července 2018 odpovídají zveřejněné statistice národního vývozu ČSÚ, od července 2018 prognóza IE</a:t>
            </a:r>
            <a:r>
              <a:rPr lang="cs-CZ" sz="1100" i="1" dirty="0" smtClean="0"/>
              <a:t>.</a:t>
            </a:r>
            <a:endParaRPr lang="cs-CZ" sz="1100" dirty="0"/>
          </a:p>
        </p:txBody>
      </p:sp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2474738622"/>
              </p:ext>
            </p:extLst>
          </p:nvPr>
        </p:nvGraphicFramePr>
        <p:xfrm>
          <a:off x="489408" y="4097551"/>
          <a:ext cx="9591094" cy="3160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Rectangle 1"/>
          <p:cNvSpPr/>
          <p:nvPr/>
        </p:nvSpPr>
        <p:spPr>
          <a:xfrm>
            <a:off x="407503" y="804342"/>
            <a:ext cx="10285898" cy="30931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300" dirty="0"/>
              <a:t>Český export se na začátku </a:t>
            </a:r>
            <a:r>
              <a:rPr lang="cs-CZ" sz="1300" dirty="0" smtClean="0"/>
              <a:t>3. čtvrtletí </a:t>
            </a:r>
            <a:r>
              <a:rPr lang="cs-CZ" sz="1300" dirty="0"/>
              <a:t>výrazně zvýšil, když v červenci zaznamenal dvouciferný </a:t>
            </a:r>
            <a:r>
              <a:rPr lang="cs-CZ" sz="1300" dirty="0" smtClean="0"/>
              <a:t>růst </a:t>
            </a:r>
            <a:endParaRPr lang="en-US" sz="13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 smtClean="0"/>
              <a:t>Od </a:t>
            </a:r>
            <a:r>
              <a:rPr lang="en-US" sz="1300" dirty="0" err="1" smtClean="0"/>
              <a:t>listop</a:t>
            </a:r>
            <a:r>
              <a:rPr lang="cs-CZ" sz="1300" dirty="0" smtClean="0"/>
              <a:t>a</a:t>
            </a:r>
            <a:r>
              <a:rPr lang="en-US" sz="1300" dirty="0" smtClean="0"/>
              <a:t>d</a:t>
            </a:r>
            <a:r>
              <a:rPr lang="cs-CZ" sz="1300" dirty="0" smtClean="0"/>
              <a:t>u 2017 </a:t>
            </a:r>
            <a:r>
              <a:rPr lang="cs-CZ" sz="1300" dirty="0"/>
              <a:t>jsou hlavním tahounem růstu českého </a:t>
            </a:r>
            <a:r>
              <a:rPr lang="cs-CZ" sz="1300" dirty="0" smtClean="0"/>
              <a:t>exportu </a:t>
            </a:r>
            <a:r>
              <a:rPr lang="cs-CZ" sz="1300" u="sng" dirty="0" smtClean="0"/>
              <a:t>počítače, elektrotechnika a optika</a:t>
            </a:r>
            <a:endParaRPr lang="cs-CZ" sz="13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300" dirty="0" smtClean="0"/>
              <a:t>Obchodní tahanice USA </a:t>
            </a:r>
            <a:r>
              <a:rPr lang="cs-CZ" sz="1300" dirty="0"/>
              <a:t>s klíčovými obchodními partnery nebo ekonomicko-politické problémy Turecka </a:t>
            </a:r>
            <a:r>
              <a:rPr lang="cs-CZ" sz="1300" dirty="0" smtClean="0"/>
              <a:t>zatím </a:t>
            </a:r>
            <a:r>
              <a:rPr lang="cs-CZ" sz="1300" dirty="0" smtClean="0"/>
              <a:t>nezanechaly viditelné </a:t>
            </a:r>
            <a:r>
              <a:rPr lang="cs-CZ" sz="1300" dirty="0" smtClean="0"/>
              <a:t>stopy v exportních číslech</a:t>
            </a:r>
            <a:endParaRPr lang="cs-CZ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3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300" b="1" dirty="0" smtClean="0"/>
              <a:t>Index Exportu předpovídá oživení českého vývozu</a:t>
            </a:r>
            <a:r>
              <a:rPr lang="cs-CZ" sz="1300" dirty="0" smtClean="0"/>
              <a:t> na konec třetího čtvrtletí a především pak na závěr roku</a:t>
            </a:r>
          </a:p>
          <a:p>
            <a:pPr lvl="2"/>
            <a:r>
              <a:rPr lang="cs-CZ" sz="1300" b="1" dirty="0" smtClean="0"/>
              <a:t>+</a:t>
            </a:r>
            <a:r>
              <a:rPr lang="cs-CZ" sz="1300" dirty="0" smtClean="0"/>
              <a:t> opětovný růst zakázek </a:t>
            </a:r>
          </a:p>
          <a:p>
            <a:pPr lvl="2"/>
            <a:r>
              <a:rPr lang="cs-CZ" sz="1300" b="1" dirty="0" smtClean="0"/>
              <a:t>+</a:t>
            </a:r>
            <a:r>
              <a:rPr lang="cs-CZ" sz="1300" dirty="0" smtClean="0"/>
              <a:t> příznivý vývoj  kurzu české korun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300" dirty="0" smtClean="0"/>
              <a:t> ALE: 	</a:t>
            </a:r>
            <a:r>
              <a:rPr lang="cs-CZ" sz="1300" b="1" dirty="0" smtClean="0"/>
              <a:t>-</a:t>
            </a:r>
            <a:r>
              <a:rPr lang="cs-CZ" sz="1300" dirty="0" smtClean="0"/>
              <a:t> nedostatek </a:t>
            </a:r>
            <a:r>
              <a:rPr lang="cs-CZ" sz="1300" dirty="0"/>
              <a:t>pracovní síly v Česku </a:t>
            </a:r>
            <a:r>
              <a:rPr lang="cs-CZ" sz="1300" dirty="0" smtClean="0"/>
              <a:t>(313 200 volných </a:t>
            </a:r>
            <a:r>
              <a:rPr lang="cs-CZ" sz="1300" dirty="0" err="1" smtClean="0"/>
              <a:t>prac</a:t>
            </a:r>
            <a:r>
              <a:rPr lang="cs-CZ" sz="1300" dirty="0" smtClean="0"/>
              <a:t>. míst vs. </a:t>
            </a:r>
            <a:r>
              <a:rPr lang="cs-CZ" sz="1300" dirty="0"/>
              <a:t>209 710 dosažitelných uchazečů o zaměstnání </a:t>
            </a:r>
            <a:r>
              <a:rPr lang="cs-CZ" sz="1300" dirty="0" smtClean="0"/>
              <a:t>)</a:t>
            </a:r>
          </a:p>
          <a:p>
            <a:pPr lvl="2"/>
            <a:r>
              <a:rPr lang="cs-CZ" sz="1300" b="1" dirty="0" smtClean="0"/>
              <a:t>- </a:t>
            </a:r>
            <a:r>
              <a:rPr lang="cs-CZ" sz="1300" dirty="0" smtClean="0"/>
              <a:t>kapacitní </a:t>
            </a:r>
            <a:r>
              <a:rPr lang="cs-CZ" sz="1300" dirty="0"/>
              <a:t>limity české ekonomiky včetně </a:t>
            </a:r>
            <a:r>
              <a:rPr lang="cs-CZ" sz="1300" dirty="0" smtClean="0"/>
              <a:t>nedostatečné kapacity </a:t>
            </a:r>
            <a:r>
              <a:rPr lang="cs-CZ" sz="1300" dirty="0"/>
              <a:t>dopravních a logistických </a:t>
            </a:r>
            <a:r>
              <a:rPr lang="cs-CZ" sz="1300" dirty="0" smtClean="0"/>
              <a:t>služeb</a:t>
            </a:r>
          </a:p>
          <a:p>
            <a:pPr marL="1328738" lvl="2" indent="-285750">
              <a:buFontTx/>
              <a:buChar char="-"/>
            </a:pPr>
            <a:r>
              <a:rPr lang="cs-CZ" sz="1300" dirty="0" smtClean="0"/>
              <a:t>nejistota </a:t>
            </a:r>
            <a:r>
              <a:rPr lang="cs-CZ" sz="1300" dirty="0"/>
              <a:t>okolo </a:t>
            </a:r>
            <a:r>
              <a:rPr lang="cs-CZ" sz="1300" dirty="0" err="1"/>
              <a:t>brexitu</a:t>
            </a:r>
            <a:r>
              <a:rPr lang="cs-CZ" sz="1300" dirty="0"/>
              <a:t> si </a:t>
            </a:r>
            <a:r>
              <a:rPr lang="cs-CZ" sz="1300" dirty="0" smtClean="0"/>
              <a:t>už vybírá svou </a:t>
            </a:r>
            <a:r>
              <a:rPr lang="cs-CZ" sz="1300" dirty="0"/>
              <a:t>daň: klesá jak hodnota vývozu, tak podíl Spojeného </a:t>
            </a:r>
            <a:r>
              <a:rPr lang="cs-CZ" sz="1300" dirty="0" smtClean="0"/>
              <a:t>království </a:t>
            </a:r>
            <a:r>
              <a:rPr lang="cs-CZ" sz="1300" dirty="0"/>
              <a:t>na českém </a:t>
            </a:r>
            <a:r>
              <a:rPr lang="cs-CZ" sz="1300" dirty="0" smtClean="0"/>
              <a:t>exportu</a:t>
            </a:r>
          </a:p>
          <a:p>
            <a:pPr marL="1328738" lvl="2" indent="-285750">
              <a:buFontTx/>
              <a:buChar char="-"/>
            </a:pPr>
            <a:endParaRPr lang="en-US" sz="1300" dirty="0" smtClean="0"/>
          </a:p>
          <a:p>
            <a:pPr marL="0" lvl="2"/>
            <a:r>
              <a:rPr lang="en-US" sz="1300" dirty="0" smtClean="0"/>
              <a:t>=&gt; </a:t>
            </a:r>
            <a:r>
              <a:rPr lang="cs-CZ" sz="1300" dirty="0"/>
              <a:t>Bude-li českému </a:t>
            </a:r>
            <a:r>
              <a:rPr lang="cs-CZ" sz="1300" dirty="0" smtClean="0"/>
              <a:t>exportu </a:t>
            </a:r>
            <a:r>
              <a:rPr lang="cs-CZ" sz="1300" dirty="0"/>
              <a:t>přát vnější prostředí a kurz české koruny, může být </a:t>
            </a:r>
            <a:r>
              <a:rPr lang="cs-CZ" sz="1300" b="1" dirty="0"/>
              <a:t>nakonec loňský rekord českého exportu v hodnotě 3,5 miliardy českých </a:t>
            </a:r>
            <a:r>
              <a:rPr lang="cs-CZ" sz="1300" b="1" dirty="0" smtClean="0"/>
              <a:t>korun letos </a:t>
            </a:r>
            <a:r>
              <a:rPr lang="cs-CZ" sz="1300" b="1" dirty="0"/>
              <a:t>„o prsa“ </a:t>
            </a:r>
            <a:r>
              <a:rPr lang="cs-CZ" sz="1300" b="1" dirty="0" smtClean="0"/>
              <a:t>překonán</a:t>
            </a:r>
            <a:endParaRPr lang="cs-CZ" sz="140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407503" y="1808922"/>
            <a:ext cx="10285895" cy="238539"/>
          </a:xfrm>
          <a:prstGeom prst="rect">
            <a:avLst/>
          </a:prstGeom>
          <a:solidFill>
            <a:schemeClr val="bg1">
              <a:lumMod val="95000"/>
              <a:alpha val="44000"/>
            </a:schemeClr>
          </a:solidFill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endParaRPr lang="cs-CZ" sz="1600" b="1" dirty="0" err="1" smtClean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6611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 smtClean="0"/>
              <a:t>Čtvrtletní průzkum mezi exportéry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3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630858" y="1902143"/>
            <a:ext cx="9813928" cy="457200"/>
          </a:xfrm>
          <a:prstGeom prst="rect">
            <a:avLst/>
          </a:prstGeom>
          <a:noFill/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0                                                                           50                                                                         100</a:t>
            </a:r>
          </a:p>
        </p:txBody>
      </p:sp>
      <p:sp>
        <p:nvSpPr>
          <p:cNvPr id="6" name="Rectangle 5"/>
          <p:cNvSpPr/>
          <p:nvPr/>
        </p:nvSpPr>
        <p:spPr>
          <a:xfrm>
            <a:off x="708712" y="1718094"/>
            <a:ext cx="9090026" cy="266700"/>
          </a:xfrm>
          <a:prstGeom prst="rect">
            <a:avLst/>
          </a:prstGeom>
          <a:gradFill flip="none" rotWithShape="1">
            <a:gsLst>
              <a:gs pos="30000">
                <a:schemeClr val="accent6">
                  <a:lumMod val="75000"/>
                </a:schemeClr>
              </a:gs>
              <a:gs pos="57000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0" scaled="0"/>
            <a:tileRect/>
          </a:gra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 err="1" smtClean="0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83233" y="2359343"/>
            <a:ext cx="99091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cs-CZ" sz="1200" i="1" dirty="0"/>
              <a:t>Pozn.: hodnota pod 50 značí zhoršení, hodnota nad 50 zlepšení, úroveň 50 bodů signalizuje </a:t>
            </a:r>
            <a:r>
              <a:rPr lang="cs-CZ" sz="1200" i="1" dirty="0" smtClean="0"/>
              <a:t>stabilitu</a:t>
            </a:r>
            <a:endParaRPr lang="cs-CZ" sz="1400" i="1" dirty="0"/>
          </a:p>
        </p:txBody>
      </p:sp>
      <p:sp>
        <p:nvSpPr>
          <p:cNvPr id="9" name="TextBox 8"/>
          <p:cNvSpPr txBox="1"/>
          <p:nvPr/>
        </p:nvSpPr>
        <p:spPr>
          <a:xfrm>
            <a:off x="583233" y="2802835"/>
            <a:ext cx="2250954" cy="3060010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Aktuální situace</a:t>
            </a: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Výhled na tři měsíc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81004" y="832269"/>
            <a:ext cx="9934575" cy="134302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 hodnotíte současnou úroveň exportu Vaší společnosti ve srovnání s obdobím před 3 měsíci? (škála 0-100</a:t>
            </a:r>
            <a:r>
              <a:rPr lang="cs-CZ" sz="1400" b="1" dirty="0" smtClean="0">
                <a:latin typeface="Century Gothic" pitchFamily="34" charset="0"/>
              </a:rPr>
              <a:t>)</a:t>
            </a:r>
          </a:p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ý očekáváte vývoj exportu Vaší společnosti za následující 3 měsíce ve srovnání s dneškem? (škála 0-100)</a:t>
            </a: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41573" y="7165353"/>
            <a:ext cx="90900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i="1" dirty="0"/>
              <a:t>Zdroj: Šetření mezi exportéry v termínu 30. 8. – 19. 9. 2018. </a:t>
            </a:r>
            <a:r>
              <a:rPr lang="cs-CZ" sz="1100" i="1" dirty="0" err="1"/>
              <a:t>Raiffeisenbank</a:t>
            </a:r>
            <a:r>
              <a:rPr lang="cs-CZ" sz="1100" i="1" dirty="0"/>
              <a:t> a.s</a:t>
            </a:r>
            <a:r>
              <a:rPr lang="cs-CZ" sz="1100" i="1" dirty="0" smtClean="0"/>
              <a:t>. a  </a:t>
            </a:r>
            <a:r>
              <a:rPr lang="cs-CZ" sz="1100" i="1" dirty="0"/>
              <a:t>Asociace exportérů. </a:t>
            </a:r>
            <a:endParaRPr lang="cs-CZ" sz="1100" dirty="0"/>
          </a:p>
        </p:txBody>
      </p:sp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8542920"/>
              </p:ext>
            </p:extLst>
          </p:nvPr>
        </p:nvGraphicFramePr>
        <p:xfrm>
          <a:off x="2834187" y="2802835"/>
          <a:ext cx="7309335" cy="2236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0351343"/>
              </p:ext>
            </p:extLst>
          </p:nvPr>
        </p:nvGraphicFramePr>
        <p:xfrm>
          <a:off x="3032474" y="4909931"/>
          <a:ext cx="7055744" cy="21361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18596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 smtClean="0"/>
              <a:t>Anketa mezi exportéry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4</a:t>
            </a:fld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1" y="891304"/>
            <a:ext cx="10693400" cy="5975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algn="ctr"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Jak vnímáte návrh na zkrácení pracovního týdne o 0,5 hodiny na 37,5 hodin  týdně?</a:t>
            </a:r>
          </a:p>
          <a:p>
            <a:pPr algn="ctr">
              <a:spcBef>
                <a:spcPts val="1000"/>
              </a:spcBef>
            </a:pPr>
            <a:endParaRPr lang="cs-CZ" sz="1800" b="1" dirty="0" smtClean="0">
              <a:latin typeface="Century Gothic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41573" y="7165353"/>
            <a:ext cx="90900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i="1" dirty="0"/>
              <a:t>Zdroj: Šetření mezi exportéry v termínu 30. 8. – 19. 9. 2018. </a:t>
            </a:r>
            <a:r>
              <a:rPr lang="cs-CZ" sz="1100" i="1" dirty="0" err="1"/>
              <a:t>Raiffeisenbank</a:t>
            </a:r>
            <a:r>
              <a:rPr lang="cs-CZ" sz="1100" i="1" dirty="0"/>
              <a:t> a.s</a:t>
            </a:r>
            <a:r>
              <a:rPr lang="cs-CZ" sz="1100" i="1" dirty="0" smtClean="0"/>
              <a:t>. a  </a:t>
            </a:r>
            <a:r>
              <a:rPr lang="cs-CZ" sz="1100" i="1" dirty="0"/>
              <a:t>Asociace exportérů. </a:t>
            </a:r>
            <a:endParaRPr lang="cs-CZ" sz="1100" dirty="0"/>
          </a:p>
        </p:txBody>
      </p:sp>
      <p:sp>
        <p:nvSpPr>
          <p:cNvPr id="8" name="TextBox 7"/>
          <p:cNvSpPr txBox="1"/>
          <p:nvPr/>
        </p:nvSpPr>
        <p:spPr>
          <a:xfrm>
            <a:off x="1" y="5265446"/>
            <a:ext cx="10693400" cy="17714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marL="536575">
              <a:spcBef>
                <a:spcPts val="1000"/>
              </a:spcBef>
            </a:pPr>
            <a:r>
              <a:rPr lang="cs-CZ" sz="1600" b="1" dirty="0"/>
              <a:t>71 % exportních firem se v anketě staví proti</a:t>
            </a:r>
            <a:r>
              <a:rPr lang="cs-CZ" sz="1600" dirty="0"/>
              <a:t> tomuto požadavku s odvoláním na kritický nedostatek lidí na trhu práce, komplikace ve směnném provozu a další růst hodinové mzdy a celkových mzdových nákladů. </a:t>
            </a:r>
            <a:endParaRPr lang="cs-CZ" sz="1600" dirty="0" smtClean="0"/>
          </a:p>
          <a:p>
            <a:pPr marL="536575">
              <a:spcBef>
                <a:spcPts val="1000"/>
              </a:spcBef>
            </a:pPr>
            <a:r>
              <a:rPr lang="cs-CZ" sz="1600" dirty="0" smtClean="0"/>
              <a:t>Pouze </a:t>
            </a:r>
            <a:r>
              <a:rPr lang="cs-CZ" sz="1600" b="1" dirty="0"/>
              <a:t>10 % exportérů se k návrhu na zkrácení pracovní doby staví pozitivně</a:t>
            </a:r>
            <a:r>
              <a:rPr lang="cs-CZ" sz="1600" dirty="0"/>
              <a:t>. Věří, že méně odpracovaných hodin zvýší spokojenost zaměstnanců a následně i jejich produktivitu a efektivnost.</a:t>
            </a:r>
            <a:endParaRPr lang="cs-CZ" sz="1600" dirty="0" smtClean="0">
              <a:latin typeface="Century Gothic" pitchFamily="34" charset="0"/>
            </a:endParaRPr>
          </a:p>
        </p:txBody>
      </p:sp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val="2651614882"/>
              </p:ext>
            </p:extLst>
          </p:nvPr>
        </p:nvGraphicFramePr>
        <p:xfrm>
          <a:off x="1262270" y="1389187"/>
          <a:ext cx="8517834" cy="38762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549320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129" y="169459"/>
            <a:ext cx="9792475" cy="760181"/>
          </a:xfrm>
        </p:spPr>
        <p:txBody>
          <a:bodyPr/>
          <a:lstStyle/>
          <a:p>
            <a:pPr algn="ctr"/>
            <a:r>
              <a:rPr lang="cs-CZ" dirty="0" smtClean="0"/>
              <a:t>Důležité upozornění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5</a:t>
            </a:fld>
            <a:endParaRPr lang="en-US" noProof="0"/>
          </a:p>
        </p:txBody>
      </p:sp>
      <p:sp>
        <p:nvSpPr>
          <p:cNvPr id="6" name="TextBox 5"/>
          <p:cNvSpPr txBox="1"/>
          <p:nvPr/>
        </p:nvSpPr>
        <p:spPr>
          <a:xfrm>
            <a:off x="295275" y="1190624"/>
            <a:ext cx="10048875" cy="58578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algn="just">
              <a:spcBef>
                <a:spcPts val="1000"/>
              </a:spcBef>
            </a:pPr>
            <a:r>
              <a:rPr lang="cs-CZ" sz="1400" b="1" dirty="0"/>
              <a:t>Upozornění</a:t>
            </a:r>
          </a:p>
          <a:p>
            <a:pPr algn="just"/>
            <a:r>
              <a:rPr lang="cs-CZ" sz="1400" dirty="0"/>
              <a:t>Všechny názory, prognózy a informace, včetně investičních doporučení a obchodní idejí, a jakékoliv ostatní údaje obsažené v tomto dokumentu jsou pouze informativní, nezávazné a představují názor </a:t>
            </a:r>
            <a:r>
              <a:rPr lang="cs-CZ" sz="1400" dirty="0" err="1"/>
              <a:t>Raiffeisenbank</a:t>
            </a:r>
            <a:r>
              <a:rPr lang="cs-CZ" sz="1400" dirty="0"/>
              <a:t> a.s. („RB“). Tento dokument nepředstavuje nabídku nákupu nebo prodeje jakéhokoli finančního aktiva nebo jiného finančního instrumentu. Dokument je určen výhradně pro potřeby adresáta a nesmí být kopírován a rozšiřován třetím osobám. RB doporučuje před učiněním jakéhokoli investičního rozhodnutí získání podrobných informací </a:t>
            </a:r>
            <a:r>
              <a:rPr lang="cs-CZ" sz="1400" dirty="0" smtClean="0"/>
              <a:t>o zamýšlené </a:t>
            </a:r>
            <a:r>
              <a:rPr lang="cs-CZ" sz="1400" dirty="0"/>
              <a:t>investici nebo obchodu. RB vypracovala tento dokument s nejvyšší odbornou péčí a v dobré víře, avšak neručí za správnost jeho obsahu ani za jeho úplnost nebo přesnost. RB a RBI obecně zakazuje svým analytikům a osobám </a:t>
            </a:r>
            <a:r>
              <a:rPr lang="cs-CZ" sz="1400" dirty="0" err="1"/>
              <a:t>reportujícím</a:t>
            </a:r>
            <a:r>
              <a:rPr lang="cs-CZ" sz="1400" dirty="0"/>
              <a:t> analytikům být angažován v cenných papírech či jiných finančních instrumentech jakékoliv společnosti, kterou analytik pokrývá, pokud nabytí těchto finančních nástrojů nebylo předem projednáno s oddělením </a:t>
            </a:r>
            <a:r>
              <a:rPr lang="cs-CZ" sz="1400" dirty="0" err="1"/>
              <a:t>Compliance</a:t>
            </a:r>
            <a:r>
              <a:rPr lang="cs-CZ" sz="1400" dirty="0"/>
              <a:t> RB nebo RBI. RB nenese žádnou odpovědnost za jakékoliv škody nebo ušlý zisk způsobené jakýmkoliv třetím osobám použitím informací a údajů obsažených v tomto dokumentu. Investiční doporučení vytvářená týmem Ekonomický výzkum a jeho pracovníky, jakož i modelová portfolia, obchodní ideje, názory a prognózy jsou pouze obecné a určené pro veřejnost a nikoli individualizované ani určené pro konkrétní osoby v konkrétní finanční situaci a nejsou tedy službou investičního poradenství ve smyslu zákona č. 256/2004 Sb., o podnikání na kapitálovém trhu, ve znění pozdějších předpisů. Tento dokument není určen pro retailové investory podle pravidel dohledových orgánů Spojeného království a neměl by jim být rozšiřován. Dokument nesmí být rozšiřován nebo distribuován do USA nebo Kanady nebo jejich teritorií; rovněž nesmí být distribuován občanům USA a Kanady. Úplnou informaci podle Nařízení (EU) 596/2014 o zneužívání trhu </a:t>
            </a:r>
            <a:r>
              <a:rPr lang="cs-CZ" sz="1400" dirty="0" smtClean="0"/>
              <a:t>a Prováděcího </a:t>
            </a:r>
            <a:r>
              <a:rPr lang="cs-CZ" sz="1400" dirty="0"/>
              <a:t>nařízení (EU) 2016/958 dle vyhlášky č. 114/2006 Sb., o poctivé prezentaci investičních doporučení, naleznete na webové stránce </a:t>
            </a:r>
            <a:r>
              <a:rPr lang="cs-CZ" sz="1400" dirty="0" err="1"/>
              <a:t>Raiffeisenbank</a:t>
            </a:r>
            <a:r>
              <a:rPr lang="cs-CZ" sz="1400" dirty="0"/>
              <a:t> a.s. v sekci Analýzy – </a:t>
            </a:r>
            <a:r>
              <a:rPr lang="cs-CZ" sz="1400" dirty="0" err="1"/>
              <a:t>Disclaimer</a:t>
            </a:r>
            <a:r>
              <a:rPr lang="cs-CZ" sz="1400" dirty="0"/>
              <a:t>, viz https://investice.rb.cz/</a:t>
            </a:r>
            <a:r>
              <a:rPr lang="cs-CZ" sz="1400" dirty="0" err="1"/>
              <a:t>fileadmin</a:t>
            </a:r>
            <a:r>
              <a:rPr lang="cs-CZ" sz="1400" dirty="0"/>
              <a:t>/</a:t>
            </a:r>
            <a:r>
              <a:rPr lang="cs-CZ" sz="1400" dirty="0" err="1"/>
              <a:t>files</a:t>
            </a:r>
            <a:r>
              <a:rPr lang="cs-CZ" sz="1400" dirty="0"/>
              <a:t>/disclaimer_RBroker.pdf. Dohledovým orgánem pro </a:t>
            </a:r>
            <a:r>
              <a:rPr lang="cs-CZ" sz="1400" dirty="0" err="1"/>
              <a:t>Raiffeisenbank</a:t>
            </a:r>
            <a:r>
              <a:rPr lang="cs-CZ" sz="1400" dirty="0"/>
              <a:t> a.s. je Česká národní banka, Na Příkopě 28, Praha 1.</a:t>
            </a:r>
          </a:p>
          <a:p>
            <a:pPr>
              <a:spcBef>
                <a:spcPts val="1000"/>
              </a:spcBef>
            </a:pPr>
            <a:r>
              <a:rPr lang="cs-CZ" sz="1400" dirty="0" smtClean="0">
                <a:latin typeface="Century Gothic" pitchFamily="34" charset="0"/>
              </a:rPr>
              <a:t>Data </a:t>
            </a:r>
            <a:r>
              <a:rPr lang="cs-CZ" sz="1400" dirty="0">
                <a:latin typeface="Century Gothic" pitchFamily="34" charset="0"/>
              </a:rPr>
              <a:t>k </a:t>
            </a:r>
            <a:r>
              <a:rPr lang="cs-CZ" sz="1400" dirty="0" smtClean="0"/>
              <a:t>30. září 2018</a:t>
            </a:r>
            <a:r>
              <a:rPr lang="cs-CZ" sz="1400" dirty="0" smtClean="0">
                <a:latin typeface="Century Gothic" pitchFamily="34" charset="0"/>
              </a:rPr>
              <a:t> </a:t>
            </a:r>
            <a:endParaRPr lang="cs-CZ" sz="1400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Autor: </a:t>
            </a:r>
            <a:r>
              <a:rPr lang="cs-CZ" sz="1400" dirty="0" smtClean="0">
                <a:latin typeface="Century Gothic" pitchFamily="34" charset="0"/>
              </a:rPr>
              <a:t>Helena Horská, hlavní ekonom Raiffeisenbank </a:t>
            </a:r>
            <a:r>
              <a:rPr lang="cs-CZ" sz="1400" dirty="0">
                <a:latin typeface="Century Gothic" pitchFamily="34" charset="0"/>
              </a:rPr>
              <a:t>a.s., </a:t>
            </a:r>
            <a:r>
              <a:rPr lang="cs-CZ" sz="1400" dirty="0" err="1" smtClean="0">
                <a:latin typeface="Century Gothic" pitchFamily="34" charset="0"/>
              </a:rPr>
              <a:t>helena.horska</a:t>
            </a:r>
            <a:r>
              <a:rPr lang="en-US" sz="1400" dirty="0" smtClean="0">
                <a:latin typeface="Century Gothic" pitchFamily="34" charset="0"/>
              </a:rPr>
              <a:t>@rb.cz</a:t>
            </a:r>
            <a:endParaRPr lang="cs-CZ" sz="1400" dirty="0">
              <a:latin typeface="Century Gothic" pitchFamily="34" charset="0"/>
            </a:endParaRPr>
          </a:p>
          <a:p>
            <a:pPr algn="just">
              <a:spcBef>
                <a:spcPts val="1000"/>
              </a:spcBef>
            </a:pPr>
            <a:endParaRPr lang="cs-CZ" sz="1400" dirty="0"/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9418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False"/>
  <p:tag name="PREVIOUSNAME" val="P:\$Production\7. New hires and client training\7.3_External\RBCZ\RBCZ_new_v1.po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.2mDvXqEShg4t.k13PLQ"/>
</p:tagLst>
</file>

<file path=ppt/theme/theme1.xml><?xml version="1.0" encoding="utf-8"?>
<a:theme xmlns:a="http://schemas.openxmlformats.org/drawingml/2006/main" name="Presentace IE žlutá">
  <a:themeElements>
    <a:clrScheme name="RBI lea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FF00"/>
      </a:accent1>
      <a:accent2>
        <a:srgbClr val="5F5F5F"/>
      </a:accent2>
      <a:accent3>
        <a:srgbClr val="969696"/>
      </a:accent3>
      <a:accent4>
        <a:srgbClr val="CDCDCD"/>
      </a:accent4>
      <a:accent5>
        <a:srgbClr val="333399"/>
      </a:accent5>
      <a:accent6>
        <a:srgbClr val="3366FF"/>
      </a:accent6>
      <a:hlink>
        <a:srgbClr val="969696"/>
      </a:hlink>
      <a:folHlink>
        <a:srgbClr val="CDCDCD"/>
      </a:folHlink>
    </a:clrScheme>
    <a:fontScheme name="Raiffeisen Bank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108000" tIns="144000" rIns="108000" bIns="0" rtlCol="0">
        <a:noAutofit/>
      </a:bodyPr>
      <a:lstStyle>
        <a:defPPr>
          <a:spcBef>
            <a:spcPts val="1000"/>
          </a:spcBef>
          <a:defRPr sz="1600" b="1" dirty="0" err="1" smtClean="0">
            <a:latin typeface="Century Gothic" pitchFamily="34" charset="0"/>
          </a:defRPr>
        </a:defPPr>
      </a:lstStyle>
    </a:txDef>
  </a:objectDefaults>
  <a:extraClrSchemeLst>
    <a:extraClrScheme>
      <a:clrScheme name="RBI lean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00"/>
        </a:accent1>
        <a:accent2>
          <a:srgbClr val="5F5F5F"/>
        </a:accent2>
        <a:accent3>
          <a:srgbClr val="969696"/>
        </a:accent3>
        <a:accent4>
          <a:srgbClr val="CDCDCD"/>
        </a:accent4>
        <a:accent5>
          <a:srgbClr val="333399"/>
        </a:accent5>
        <a:accent6>
          <a:srgbClr val="3366FF"/>
        </a:accent6>
        <a:hlink>
          <a:srgbClr val="969696"/>
        </a:hlink>
        <a:folHlink>
          <a:srgbClr val="CDCDC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8" id="{A4708895-ED5A-8345-9A86-BD16C8290C24}" vid="{125831F6-0F39-5C44-8820-2A8AD724234C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1101CB7CB8F843808CCDCECBE00998" ma:contentTypeVersion="2" ma:contentTypeDescription="Create a new document." ma:contentTypeScope="" ma:versionID="7e6e83b449c4ec2197adc5634ac77497">
  <xsd:schema xmlns:xsd="http://www.w3.org/2001/XMLSchema" xmlns:xs="http://www.w3.org/2001/XMLSchema" xmlns:p="http://schemas.microsoft.com/office/2006/metadata/properties" xmlns:ns1="http://schemas.microsoft.com/sharepoint/v3" xmlns:ns2="8a242853-43d6-460e-83d1-ae32e22d03ab" targetNamespace="http://schemas.microsoft.com/office/2006/metadata/properties" ma:root="true" ma:fieldsID="3d763472e3167a2d7b934c169128929f" ns1:_="" ns2:_="">
    <xsd:import namespace="http://schemas.microsoft.com/sharepoint/v3"/>
    <xsd:import namespace="8a242853-43d6-460e-83d1-ae32e22d03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Category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242853-43d6-460e-83d1-ae32e22d03ab" elementFormDefault="qualified">
    <xsd:import namespace="http://schemas.microsoft.com/office/2006/documentManagement/types"/>
    <xsd:import namespace="http://schemas.microsoft.com/office/infopath/2007/PartnerControls"/>
    <xsd:element name="Category" ma:index="10" ma:displayName="Category" ma:format="Dropdown" ma:internalName="Category">
      <xsd:simpleType>
        <xsd:union memberTypes="dms:Text">
          <xsd:simpleType>
            <xsd:restriction base="dms:Choice">
              <xsd:enumeration value="Corporate Design Manual"/>
              <xsd:enumeration value="Musterbrief"/>
              <xsd:enumeration value="Namensschilder und Plexiaufsteller#"/>
              <xsd:enumeration value="Landkarte/Map"/>
              <xsd:enumeration value="Präsentationsvorlage"/>
              <xsd:enumeration value="Produktblätter ( Vorlagen)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8a242853-43d6-460e-83d1-ae32e22d03ab">Präsentationsvorlage</Category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66B48FC0-F3B4-484B-B4D6-D68D6CBC8C9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37896F2-FC02-4F64-8CCB-8539C74D78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a242853-43d6-460e-83d1-ae32e22d03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1623022-32C5-45FE-9C38-B3E16CC9AD8A}">
  <ds:schemaRefs>
    <ds:schemaRef ds:uri="http://purl.org/dc/dcmitype/"/>
    <ds:schemaRef ds:uri="http://www.w3.org/XML/1998/namespace"/>
    <ds:schemaRef ds:uri="http://schemas.microsoft.com/office/2006/documentManagement/types"/>
    <ds:schemaRef ds:uri="http://schemas.microsoft.com/sharepoint/v3"/>
    <ds:schemaRef ds:uri="http://purl.org/dc/elements/1.1/"/>
    <ds:schemaRef ds:uri="http://purl.org/dc/terms/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8a242853-43d6-460e-83d1-ae32e22d03ab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ce IE žlutá</Template>
  <TotalTime>7790</TotalTime>
  <Words>264</Words>
  <Application>Microsoft Office PowerPoint</Application>
  <PresentationFormat>Custom</PresentationFormat>
  <Paragraphs>54</Paragraphs>
  <Slides>5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Presentace IE žlutá</vt:lpstr>
      <vt:lpstr>think-cell Slide</vt:lpstr>
      <vt:lpstr>PowerPoint Presentation</vt:lpstr>
      <vt:lpstr>IE: závěr roku přinese oživení, podle průzkumu ale jen přechodné</vt:lpstr>
      <vt:lpstr>Čtvrtletní průzkum mezi exportéry</vt:lpstr>
      <vt:lpstr>Anketa mezi exportéry</vt:lpstr>
      <vt:lpstr>Důležité upozornění</vt:lpstr>
    </vt:vector>
  </TitlesOfParts>
  <Company>Raiffeisenbank a.s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a HORSKA2</dc:creator>
  <cp:lastModifiedBy>Petra Kopecka</cp:lastModifiedBy>
  <cp:revision>191</cp:revision>
  <cp:lastPrinted>2018-07-09T10:23:09Z</cp:lastPrinted>
  <dcterms:created xsi:type="dcterms:W3CDTF">2016-04-01T12:44:41Z</dcterms:created>
  <dcterms:modified xsi:type="dcterms:W3CDTF">2018-10-02T06:57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1101CB7CB8F843808CCDCECBE00998</vt:lpwstr>
  </property>
  <property fmtid="{D5CDD505-2E9C-101B-9397-08002B2CF9AE}" pid="3" name="Office2010EditCount">
    <vt:lpwstr>1</vt:lpwstr>
  </property>
  <property fmtid="{D5CDD505-2E9C-101B-9397-08002B2CF9AE}" pid="4" name="Office2003EditCount">
    <vt:lpwstr>0</vt:lpwstr>
  </property>
  <property fmtid="{D5CDD505-2E9C-101B-9397-08002B2CF9AE}" pid="5" name="LastEditedOfficeVersion">
    <vt:lpwstr>Office2010</vt:lpwstr>
  </property>
  <property fmtid="{D5CDD505-2E9C-101B-9397-08002B2CF9AE}" pid="6" name="Office2010WasSaved">
    <vt:lpwstr>1</vt:lpwstr>
  </property>
</Properties>
</file>